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656880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042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cm.co.uk/planner" TargetMode="External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BF02480E-BD35-43FE-ACCE-A804ACA8A8EC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40" r="13940"/>
          <a:stretch>
            <a:fillRect/>
          </a:stretch>
        </p:blipFill>
        <p:spPr/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22 October 2021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Unknown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Sarah Smith, Jean-Philippe Vine (</a:t>
            </a:r>
            <a:r>
              <a:rPr lang="en-US" i="1" dirty="0">
                <a:solidFill>
                  <a:schemeClr val="accent6"/>
                </a:solidFill>
              </a:rPr>
              <a:t>Arthur Christmas</a:t>
            </a:r>
            <a:r>
              <a:rPr lang="en-US" dirty="0">
                <a:solidFill>
                  <a:schemeClr val="accent6"/>
                </a:solidFill>
              </a:rPr>
              <a:t>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The LEGO Movie 2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A new animation from the minds behind </a:t>
            </a:r>
            <a:r>
              <a:rPr lang="en-US" i="1" dirty="0">
                <a:solidFill>
                  <a:schemeClr val="accent6"/>
                </a:solidFill>
              </a:rPr>
              <a:t>Shaun the Sheep </a:t>
            </a:r>
            <a:r>
              <a:rPr lang="en-US" dirty="0">
                <a:solidFill>
                  <a:schemeClr val="accent6"/>
                </a:solidFill>
              </a:rPr>
              <a:t>and </a:t>
            </a:r>
            <a:r>
              <a:rPr lang="en-US" i="1" dirty="0">
                <a:solidFill>
                  <a:schemeClr val="accent6"/>
                </a:solidFill>
              </a:rPr>
              <a:t>Cars</a:t>
            </a:r>
            <a:r>
              <a:rPr lang="en-US" dirty="0">
                <a:solidFill>
                  <a:schemeClr val="accent6"/>
                </a:solidFill>
              </a:rPr>
              <a:t>, this looks set to bring the finest artists in modern animation together for an original story.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Main Shoppers w/kids Index: 189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717k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GB" b="0" dirty="0"/>
              <a:t>The story of Barney, and awkward middle-schooler and Ron, this new walking, talking, digitally-connected device.</a:t>
            </a: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Ron’s gone Wrong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A new animated adventure!</a:t>
            </a:r>
            <a:endParaRPr lang="en-GB" sz="1400" dirty="0">
              <a:solidFill>
                <a:schemeClr val="accent6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"/>
              </a:rPr>
              <a:t>Plan your campaig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00914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06</Words>
  <Application>Microsoft Office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Ron’s gone Wrong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4 2021</dc:title>
  <dc:creator/>
  <dc:description>Ron’s gone Wrong</dc:description>
  <cp:lastModifiedBy/>
  <cp:revision>1</cp:revision>
  <dcterms:created xsi:type="dcterms:W3CDTF">2019-03-25T11:13:20Z</dcterms:created>
  <dcterms:modified xsi:type="dcterms:W3CDTF">2021-07-07T10:36:15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4 2021</vt:lpwstr>
  </property>
  <property fmtid="{D5CDD505-2E9C-101B-9397-08002B2CF9AE}" pid="4" name="SlideDescription">
    <vt:lpwstr>Ron’s gone Wrong</vt:lpwstr>
  </property>
</Properties>
</file>